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2"/>
  </p:notesMasterIdLst>
  <p:handoutMasterIdLst>
    <p:handoutMasterId r:id="rId13"/>
  </p:handoutMasterIdLst>
  <p:sldIdLst>
    <p:sldId id="324" r:id="rId2"/>
    <p:sldId id="325" r:id="rId3"/>
    <p:sldId id="327" r:id="rId4"/>
    <p:sldId id="328" r:id="rId5"/>
    <p:sldId id="330" r:id="rId6"/>
    <p:sldId id="334" r:id="rId7"/>
    <p:sldId id="332" r:id="rId8"/>
    <p:sldId id="335" r:id="rId9"/>
    <p:sldId id="329" r:id="rId10"/>
    <p:sldId id="336" r:id="rId11"/>
  </p:sldIdLst>
  <p:sldSz cx="9144000" cy="6858000" type="screen4x3"/>
  <p:notesSz cx="7099300" cy="10234613"/>
  <p:custDataLst>
    <p:tags r:id="rId1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288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51">
          <p15:clr>
            <a:srgbClr val="A4A3A4"/>
          </p15:clr>
        </p15:guide>
        <p15:guide id="6" orient="horz" pos="3907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190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2207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13" autoAdjust="0"/>
    <p:restoredTop sz="96341" autoAdjust="0"/>
  </p:normalViewPr>
  <p:slideViewPr>
    <p:cSldViewPr snapToGrid="0" snapToObjects="1" showGuides="1">
      <p:cViewPr varScale="1">
        <p:scale>
          <a:sx n="88" d="100"/>
          <a:sy n="88" d="100"/>
        </p:scale>
        <p:origin x="756" y="84"/>
      </p:cViewPr>
      <p:guideLst>
        <p:guide orient="horz" pos="210"/>
        <p:guide orient="horz" pos="710"/>
        <p:guide orient="horz" pos="1288"/>
        <p:guide orient="horz" pos="829"/>
        <p:guide orient="horz" pos="3651"/>
        <p:guide orient="horz" pos="3907"/>
        <p:guide orient="horz" pos="4124"/>
        <p:guide orient="horz" pos="3999"/>
        <p:guide pos="2922"/>
        <p:guide pos="190"/>
        <p:guide pos="5556"/>
        <p:guide pos="2838"/>
        <p:guide pos="1560"/>
        <p:guide pos="2207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6.0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2595957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6.01.2016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444081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77919158-F008-46DE-8057-F604D2E1F78A}" type="datetime1">
              <a:rPr lang="de-DE" smtClean="0"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987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4.emf"/><Relationship Id="rId4" Type="http://schemas.openxmlformats.org/officeDocument/2006/relationships/tags" Target="../tags/tag19.xml"/><Relationship Id="rId9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 11" descr="HfTL_Schlüsselbund.tif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35" b="13577"/>
          <a:stretch/>
        </p:blipFill>
        <p:spPr>
          <a:xfrm>
            <a:off x="314326" y="351517"/>
            <a:ext cx="8501062" cy="5460545"/>
          </a:xfrm>
          <a:prstGeom prst="rect">
            <a:avLst/>
          </a:prstGeom>
        </p:spPr>
      </p:pic>
      <p:pic>
        <p:nvPicPr>
          <p:cNvPr id="5" name="Picture 2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30" y="6347423"/>
            <a:ext cx="847725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40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64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7597" name="Picture 2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30" y="6347423"/>
            <a:ext cx="847725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rgbClr val="BABD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6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922C77EA-42BD-4445-BD8C-A3B9FA9CB3EB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FF47EFE7-5BFF-4DC6-9696-CA676B3B289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B9EE259-8F50-4C72-BA97-131791B27F72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Picture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9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DAED274-D94F-4ED6-A484-7A37576B4C41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 bwMode="gray">
          <a:xfrm>
            <a:off x="2557463" y="6431563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de-DE" dirty="0" smtClean="0"/>
              <a:t>Fundbüro DWI-13    Annika Köstler, Florian </a:t>
            </a:r>
            <a:r>
              <a:rPr lang="de-DE" dirty="0" err="1" smtClean="0"/>
              <a:t>Graupeter</a:t>
            </a:r>
            <a:r>
              <a:rPr lang="de-DE" dirty="0" smtClean="0"/>
              <a:t>, Michael Hein, Philip </a:t>
            </a:r>
            <a:r>
              <a:rPr lang="de-DE" dirty="0" err="1" smtClean="0"/>
              <a:t>Gliemann</a:t>
            </a:r>
            <a:r>
              <a:rPr lang="de-DE" dirty="0" smtClean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9" name="Picture 29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30" y="6347423"/>
            <a:ext cx="847725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8" r:id="rId3"/>
    <p:sldLayoutId id="2147483759" r:id="rId4"/>
    <p:sldLayoutId id="2147483751" r:id="rId5"/>
    <p:sldLayoutId id="2147483752" r:id="rId6"/>
    <p:sldLayoutId id="2147483753" r:id="rId7"/>
    <p:sldLayoutId id="2147483754" r:id="rId8"/>
    <p:sldLayoutId id="2147483760" r:id="rId9"/>
    <p:sldLayoutId id="2147483761" r:id="rId10"/>
    <p:sldLayoutId id="2147483762" r:id="rId11"/>
    <p:sldLayoutId id="2147483763" r:id="rId12"/>
    <p:sldLayoutId id="2147483766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images.clipartpanda.com/risk-clipart-canstock10664099.jpg" TargetMode="External"/><Relationship Id="rId13" Type="http://schemas.openxmlformats.org/officeDocument/2006/relationships/hyperlink" Target="http://www.presentermedia.com/files/pres/00007000/7900/slide04.jpg" TargetMode="External"/><Relationship Id="rId3" Type="http://schemas.openxmlformats.org/officeDocument/2006/relationships/hyperlink" Target="https://www.bundestag.de/blob/235364/2e0f59fb5d63f47cc6fc1349663de4a3/frage_antwort-data.jpg" TargetMode="External"/><Relationship Id="rId7" Type="http://schemas.openxmlformats.org/officeDocument/2006/relationships/hyperlink" Target="http://www.jobsuchercoach.de/wp-content/uploads/2011/12/suchen_und_finden_smushed-150x150.jpg" TargetMode="External"/><Relationship Id="rId12" Type="http://schemas.openxmlformats.org/officeDocument/2006/relationships/hyperlink" Target="http://hdwyn.com/wallpaper_mirror/clipart_computers_headsets_team_work_hd-wallpaper-18978.jpg" TargetMode="External"/><Relationship Id="rId2" Type="http://schemas.openxmlformats.org/officeDocument/2006/relationships/hyperlink" Target="http://www.54etdsbrno.eu/news/2015/10/13/lost-and-found" TargetMode="External"/><Relationship Id="rId16" Type="http://schemas.openxmlformats.org/officeDocument/2006/relationships/hyperlink" Target="http://www.experto.de/dankesrede-1280px-855px.jpg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blau-weiss-fischenich.de/wordpress/wp-content/uploads/2014/04/wirsuchendich.gif" TargetMode="External"/><Relationship Id="rId11" Type="http://schemas.openxmlformats.org/officeDocument/2006/relationships/hyperlink" Target="http://www.clipartsheep.com/images/1126/key-stakeholders-1126401.png" TargetMode="External"/><Relationship Id="rId5" Type="http://schemas.openxmlformats.org/officeDocument/2006/relationships/hyperlink" Target="http://www.aski-group.de/media/images/suche2-01.jpg" TargetMode="External"/><Relationship Id="rId15" Type="http://schemas.openxmlformats.org/officeDocument/2006/relationships/hyperlink" Target="http://topkonzept-blog.de/wp-content/uploads/2014/07/Maennchen_mit_Plan_Fotolia_44599113_XS.jpg" TargetMode="External"/><Relationship Id="rId10" Type="http://schemas.openxmlformats.org/officeDocument/2006/relationships/hyperlink" Target="https://media.licdn.com/mpr/mpr/p/5/005/068/394/0ce9075.jpg" TargetMode="External"/><Relationship Id="rId4" Type="http://schemas.openxmlformats.org/officeDocument/2006/relationships/hyperlink" Target="http://ppanhaengercenter.com/images/m%C3%A4nnchen-frage.jpg" TargetMode="External"/><Relationship Id="rId9" Type="http://schemas.openxmlformats.org/officeDocument/2006/relationships/hyperlink" Target="http://www.drfoster.com/wp-content/themes/drfoster/img/tools__monitor@2x.png" TargetMode="External"/><Relationship Id="rId14" Type="http://schemas.openxmlformats.org/officeDocument/2006/relationships/hyperlink" Target="http://www.span3853.julieannward.com/lib/exe/fetch.php?cache=&amp;media=clipart-computers-headsets-team-work-programmer.jp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pPr algn="ctr"/>
            <a:r>
              <a:rPr lang="de-DE" dirty="0"/>
              <a:t>Fundbüro </a:t>
            </a:r>
            <a:br>
              <a:rPr lang="de-DE" dirty="0"/>
            </a:br>
            <a:r>
              <a:rPr lang="de-DE" dirty="0"/>
              <a:t>Plattform für verlorene </a:t>
            </a:r>
            <a:r>
              <a:rPr lang="de-DE" dirty="0" err="1"/>
              <a:t>gegenständ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 smtClean="0"/>
              <a:t>Fundbüro DWI-13    Annika Köstler, Florian </a:t>
            </a:r>
            <a:r>
              <a:rPr lang="de-DE" dirty="0" err="1" smtClean="0"/>
              <a:t>Graupeter</a:t>
            </a:r>
            <a:r>
              <a:rPr lang="de-DE" dirty="0" smtClean="0"/>
              <a:t>, Michael Hein, Philip </a:t>
            </a:r>
            <a:r>
              <a:rPr lang="de-DE" dirty="0" err="1" smtClean="0"/>
              <a:t>Gliemann</a:t>
            </a:r>
            <a:r>
              <a:rPr lang="de-DE" dirty="0" smtClean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</a:t>
            </a:fld>
            <a:endParaRPr lang="de-DE"/>
          </a:p>
        </p:txBody>
      </p:sp>
      <p:pic>
        <p:nvPicPr>
          <p:cNvPr id="299010" name="Picture 2" descr="http://static1.squarespace.com/static/553cae05e4b086f57a33f650/t/561d6021e4b0be4652441977/1444765731190/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06" y="1709057"/>
            <a:ext cx="8399869" cy="399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3598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309252" name="Picture 4" descr="http://www.experto.de/dankesrede-1280px-855px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35" y="165205"/>
            <a:ext cx="8779000" cy="610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88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AGENDA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3790" y="1641477"/>
            <a:ext cx="7488354" cy="4283075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Problembeschreibung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Projektbeschreibung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Projektvorstellung</a:t>
            </a:r>
            <a:endParaRPr lang="de-DE" sz="2800" dirty="0"/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Umfeldanalyse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Projektorganisation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Projektplanung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Quellen</a:t>
            </a:r>
            <a:endParaRPr lang="de-DE" sz="2800" dirty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307204" name="Picture 4" descr="http://sr.photos3.fotosearch.com/bthumb/CSP/CSP965/k965184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967" y="1498601"/>
            <a:ext cx="2109722" cy="228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http://topkonzept-blog.de/wp-content/uploads/2014/07/Maennchen_mit_Plan_Fotolia_44599113_X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056" y="1741714"/>
            <a:ext cx="2181449" cy="20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07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3375" y="407333"/>
            <a:ext cx="8496300" cy="498598"/>
          </a:xfrm>
        </p:spPr>
        <p:txBody>
          <a:bodyPr/>
          <a:lstStyle/>
          <a:p>
            <a:r>
              <a:rPr lang="de-DE" sz="3600" dirty="0" smtClean="0"/>
              <a:t>1. Problembeschreib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300034" name="Picture 2" descr="http://www.aski-group.de/media/images/suche2-01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307" y="1934856"/>
            <a:ext cx="2515154" cy="251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0276114" y="4953000"/>
            <a:ext cx="2373086" cy="2699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pic>
        <p:nvPicPr>
          <p:cNvPr id="300036" name="Picture 4" descr="http://www.pharmazeutische-zeitung.de/uploads/pics/suche_ID2683730_3982_8682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559" y="1934856"/>
            <a:ext cx="2076904" cy="2508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0038" name="Picture 6" descr="http://ppanhaengercenter.com/images/m%C3%A4nnchen-frag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358" y="1657814"/>
            <a:ext cx="2804317" cy="2804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Gerade Verbindung mit Pfeil 8"/>
          <p:cNvCxnSpPr/>
          <p:nvPr/>
        </p:nvCxnSpPr>
        <p:spPr>
          <a:xfrm>
            <a:off x="480559" y="5148943"/>
            <a:ext cx="7804125" cy="0"/>
          </a:xfrm>
          <a:prstGeom prst="straightConnector1">
            <a:avLst/>
          </a:prstGeom>
          <a:ln>
            <a:tailEnd type="stealt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732980" y="4755416"/>
            <a:ext cx="2076904" cy="240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VERLOREN</a:t>
            </a:r>
            <a:endParaRPr lang="de-DE" sz="2400" dirty="0" smtClean="0"/>
          </a:p>
        </p:txBody>
      </p:sp>
      <p:sp>
        <p:nvSpPr>
          <p:cNvPr id="15" name="Textfeld 14"/>
          <p:cNvSpPr txBox="1"/>
          <p:nvPr/>
        </p:nvSpPr>
        <p:spPr>
          <a:xfrm>
            <a:off x="3930708" y="4766796"/>
            <a:ext cx="2076904" cy="240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SUCHEN</a:t>
            </a:r>
            <a:endParaRPr lang="de-DE" sz="2400" dirty="0" smtClean="0"/>
          </a:p>
        </p:txBody>
      </p:sp>
      <p:sp>
        <p:nvSpPr>
          <p:cNvPr id="16" name="Textfeld 15"/>
          <p:cNvSpPr txBox="1"/>
          <p:nvPr/>
        </p:nvSpPr>
        <p:spPr>
          <a:xfrm>
            <a:off x="6533337" y="4755416"/>
            <a:ext cx="2076904" cy="240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AUFGEBEN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6216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2.  Projektbeschreib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301062" name="Picture 6" descr="k6051032.jpg (254×179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463" y="2965566"/>
            <a:ext cx="4176939" cy="2943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1060" name="Picture 4" descr="http://www.jobsuchercoach.de/wp-content/uploads/2011/12/suchen_und_finden_smushed-150x15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454" y="1245859"/>
            <a:ext cx="2173514" cy="2173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1259" y="1643743"/>
            <a:ext cx="931156" cy="1922001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3991" y="3508382"/>
            <a:ext cx="950562" cy="240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69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3. Projektvorstell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302082" name="Picture 2" descr="http://www.drfoster.com/wp-content/themes/drfoster/img/tools__monitor@2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830" y="1240972"/>
            <a:ext cx="6705600" cy="456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/>
          <p:cNvPicPr/>
          <p:nvPr/>
        </p:nvPicPr>
        <p:blipFill>
          <a:blip r:embed="rId4"/>
          <a:stretch>
            <a:fillRect/>
          </a:stretch>
        </p:blipFill>
        <p:spPr>
          <a:xfrm>
            <a:off x="1556657" y="1376047"/>
            <a:ext cx="6346372" cy="34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281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4. Umfeldanalyse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52425" y="1499189"/>
            <a:ext cx="4200525" cy="4284662"/>
          </a:xfrm>
        </p:spPr>
        <p:txBody>
          <a:bodyPr/>
          <a:lstStyle/>
          <a:p>
            <a:r>
              <a:rPr lang="de-DE" sz="2800" dirty="0" smtClean="0">
                <a:solidFill>
                  <a:schemeClr val="tx2"/>
                </a:solidFill>
              </a:rPr>
              <a:t>Risiko-Analyse:</a:t>
            </a:r>
          </a:p>
          <a:p>
            <a:endParaRPr lang="de-DE" b="1" dirty="0" smtClean="0"/>
          </a:p>
          <a:p>
            <a:pPr marL="285750" lvl="2" indent="-285750">
              <a:buSzTx/>
            </a:pPr>
            <a:r>
              <a:rPr lang="de-DE" sz="2400" b="1" dirty="0"/>
              <a:t>Leistungsbezogen Risiken</a:t>
            </a:r>
          </a:p>
          <a:p>
            <a:pPr marL="285750" lvl="2" indent="-285750">
              <a:buSzTx/>
            </a:pPr>
            <a:r>
              <a:rPr lang="de-DE" sz="2400" b="1" dirty="0" smtClean="0"/>
              <a:t>Stakeholder-bezogene </a:t>
            </a:r>
            <a:r>
              <a:rPr lang="de-DE" sz="2400" b="1" dirty="0"/>
              <a:t>Risiken</a:t>
            </a:r>
          </a:p>
          <a:p>
            <a:pPr marL="285750" lvl="2" indent="-285750">
              <a:buSzTx/>
            </a:pPr>
            <a:r>
              <a:rPr lang="de-DE" sz="2400" b="1" dirty="0" smtClean="0"/>
              <a:t>Aufwandsbezogene </a:t>
            </a:r>
            <a:r>
              <a:rPr lang="de-DE" sz="2400" b="1" dirty="0"/>
              <a:t>Risiken</a:t>
            </a:r>
          </a:p>
          <a:p>
            <a:pPr marL="285750" lvl="2" indent="-285750">
              <a:buSzTx/>
            </a:pPr>
            <a:r>
              <a:rPr lang="de-DE" sz="2400" b="1" dirty="0" smtClean="0"/>
              <a:t>Terminrisiken</a:t>
            </a:r>
            <a:endParaRPr lang="de-DE" sz="2400" b="1" dirty="0"/>
          </a:p>
          <a:p>
            <a:endParaRPr lang="de-DE" dirty="0" smtClean="0"/>
          </a:p>
          <a:p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2812" y="1532980"/>
            <a:ext cx="4162425" cy="4284662"/>
          </a:xfrm>
        </p:spPr>
        <p:txBody>
          <a:bodyPr/>
          <a:lstStyle/>
          <a:p>
            <a:r>
              <a:rPr lang="de-DE" sz="2800" dirty="0" smtClean="0">
                <a:solidFill>
                  <a:schemeClr val="tx2"/>
                </a:solidFill>
              </a:rPr>
              <a:t>Stakeholder-Analyse: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 smtClean="0">
                <a:latin typeface="+mn-lt"/>
              </a:rPr>
              <a:t>Auftragge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 smtClean="0">
                <a:latin typeface="+mn-lt"/>
              </a:rPr>
              <a:t>Lenkungsausschu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 smtClean="0">
                <a:latin typeface="+mn-lt"/>
              </a:rPr>
              <a:t>IT </a:t>
            </a:r>
            <a:r>
              <a:rPr lang="de-DE" sz="2400" b="1" dirty="0">
                <a:latin typeface="+mn-lt"/>
              </a:rPr>
              <a:t>und Organi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latin typeface="+mn-lt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306178" name="Picture 2" descr="http://images.clipartpanda.com/risk-clipart-canstock1066409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74" y="4125119"/>
            <a:ext cx="2188043" cy="1779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0" name="Picture 4" descr="https://snarap.files.wordpress.com/2011/10/ourclients.jpg?w=64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635" y="3985667"/>
            <a:ext cx="2104219" cy="183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851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4130" name="Picture 2" descr="http://thumbs.dreamstime.com/t/teamarbeit-3933442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800" y="1053238"/>
            <a:ext cx="2543403" cy="191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4132" name="Picture 4" descr="http://hdwyn.com/wallpaper_mirror/clipart_computers_headsets_team_work_hd-wallpaper-1897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937" y="4129609"/>
            <a:ext cx="2574471" cy="1610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5. Projektorganisation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04134" name="Picture 6" descr="https://media.licdn.com/mpr/mpr/p/5/005/068/394/0ce9075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00" y="2366335"/>
            <a:ext cx="3218694" cy="2414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http://www.clipartsheep.com/images/1126/key-stakeholders-1126401.png"/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9" y="860449"/>
            <a:ext cx="3207428" cy="2576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7645" y="3669358"/>
            <a:ext cx="2279938" cy="225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11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6. Projektplan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4750028" y="2148009"/>
            <a:ext cx="3648819" cy="28854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Dazu gehören folgende Punkte: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Vorgehensmodell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Projektphasen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Meilenstein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Kosten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Einsatzmittel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Projektstruktur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Ablauf- und Terminplanung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de-DE" b="1" dirty="0" smtClean="0">
              <a:latin typeface="+mn-lt"/>
            </a:endParaRPr>
          </a:p>
        </p:txBody>
      </p:sp>
      <p:pic>
        <p:nvPicPr>
          <p:cNvPr id="308228" name="Picture 4" descr="http://topkonzept-blog.de/wp-content/uploads/2014/07/Maennchen_mit_Plan_Fotolia_44599113_X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59" y="2008437"/>
            <a:ext cx="3056942" cy="2860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55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Quellen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7655" y="1337810"/>
            <a:ext cx="8503445" cy="4283075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de-DE" sz="1400" dirty="0" err="1" smtClean="0"/>
              <a:t>Lost&amp;Found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://</a:t>
            </a:r>
            <a:r>
              <a:rPr lang="de-DE" sz="1400" dirty="0" smtClean="0">
                <a:hlinkClick r:id="rId2"/>
              </a:rPr>
              <a:t>www.54etdsbrno.eu/news/2015/10/13/lost-and-found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Frage-Antwort: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www.bundestag.de/blob/235364/2e0f59fb5d63f47cc6fc1349663de4a3/frage_antwort-data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Aufgeben: </a:t>
            </a:r>
            <a:r>
              <a:rPr lang="de-DE" sz="1400" dirty="0">
                <a:hlinkClick r:id="rId4"/>
              </a:rPr>
              <a:t>http://</a:t>
            </a:r>
            <a:r>
              <a:rPr lang="de-DE" sz="1400" dirty="0" smtClean="0">
                <a:hlinkClick r:id="rId4"/>
              </a:rPr>
              <a:t>ppanhaengercenter.com/images/m%C3%A4nnchen-frage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Suchen: </a:t>
            </a:r>
            <a:r>
              <a:rPr lang="de-DE" sz="1400" dirty="0">
                <a:hlinkClick r:id="rId5"/>
              </a:rPr>
              <a:t>http://</a:t>
            </a:r>
            <a:r>
              <a:rPr lang="de-DE" sz="1400" dirty="0" smtClean="0">
                <a:hlinkClick r:id="rId5"/>
              </a:rPr>
              <a:t>www.aski-group.de/media/images/suche2-01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Verloren: </a:t>
            </a:r>
            <a:r>
              <a:rPr lang="de-DE" sz="1400" dirty="0">
                <a:hlinkClick r:id="rId6"/>
              </a:rPr>
              <a:t>http://</a:t>
            </a:r>
            <a:r>
              <a:rPr lang="de-DE" sz="1400" dirty="0" smtClean="0">
                <a:hlinkClick r:id="rId6"/>
              </a:rPr>
              <a:t>www.blau-weiss-fischenich.de/wordpress/wp-content/uploads/2014/04/wirsuchendich.gif</a:t>
            </a:r>
            <a:endParaRPr lang="de-DE" sz="1400" dirty="0"/>
          </a:p>
          <a:p>
            <a:pPr marL="342900" indent="-342900">
              <a:buAutoNum type="arabicPeriod"/>
            </a:pPr>
            <a:r>
              <a:rPr lang="de-DE" sz="1400" dirty="0"/>
              <a:t>Finden: </a:t>
            </a:r>
            <a:r>
              <a:rPr lang="de-DE" sz="1400" dirty="0">
                <a:hlinkClick r:id="rId7"/>
              </a:rPr>
              <a:t>http://</a:t>
            </a:r>
            <a:r>
              <a:rPr lang="de-DE" sz="1400" dirty="0" smtClean="0">
                <a:hlinkClick r:id="rId7"/>
              </a:rPr>
              <a:t>www.jobsuchercoach.de/wp-content/uploads/2011/12/suchen_und_finden_smushed-150x150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Risiko: </a:t>
            </a:r>
            <a:r>
              <a:rPr lang="de-DE" sz="1400" dirty="0">
                <a:hlinkClick r:id="rId8"/>
              </a:rPr>
              <a:t>http://</a:t>
            </a:r>
            <a:r>
              <a:rPr lang="de-DE" sz="1400" dirty="0" smtClean="0">
                <a:hlinkClick r:id="rId8"/>
              </a:rPr>
              <a:t>images.clipartpanda.com/risk-clipart-canstock10664099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Monitor</a:t>
            </a:r>
            <a:r>
              <a:rPr lang="de-DE" sz="1400" dirty="0"/>
              <a:t>: </a:t>
            </a:r>
            <a:r>
              <a:rPr lang="de-DE" sz="1400" dirty="0">
                <a:hlinkClick r:id="rId9"/>
              </a:rPr>
              <a:t>http://www.drfoster.com/wp-content/themes/drfoster/img/tools__</a:t>
            </a:r>
            <a:r>
              <a:rPr lang="de-DE" sz="1400" dirty="0" smtClean="0">
                <a:hlinkClick r:id="rId9"/>
              </a:rPr>
              <a:t>monitor@2x.pn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Stakeholder: </a:t>
            </a:r>
            <a:r>
              <a:rPr lang="de-DE" sz="1400" dirty="0">
                <a:hlinkClick r:id="rId10"/>
              </a:rPr>
              <a:t>https://</a:t>
            </a:r>
            <a:r>
              <a:rPr lang="de-DE" sz="1400" dirty="0" smtClean="0">
                <a:hlinkClick r:id="rId10"/>
              </a:rPr>
              <a:t>media.licdn.com/mpr/mpr/p/5/005/068/394/0ce9075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Team: </a:t>
            </a:r>
            <a:r>
              <a:rPr lang="de-DE" sz="1400" dirty="0">
                <a:hlinkClick r:id="rId11"/>
              </a:rPr>
              <a:t>http://</a:t>
            </a:r>
            <a:r>
              <a:rPr lang="de-DE" sz="1400" dirty="0" smtClean="0">
                <a:hlinkClick r:id="rId11"/>
              </a:rPr>
              <a:t>www.clipartsheep.com/images/1126/key-stakeholders-1126401.pn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Teamarbeit</a:t>
            </a:r>
            <a:r>
              <a:rPr lang="de-DE" sz="1400" dirty="0"/>
              <a:t>: </a:t>
            </a:r>
            <a:r>
              <a:rPr lang="de-DE" sz="1400" dirty="0">
                <a:hlinkClick r:id="rId12"/>
              </a:rPr>
              <a:t>http://</a:t>
            </a:r>
            <a:r>
              <a:rPr lang="de-DE" sz="1400" dirty="0" smtClean="0">
                <a:hlinkClick r:id="rId12"/>
              </a:rPr>
              <a:t>hdwyn.com/wallpaper_mirror/clipart_computers_headsets_team_work_hd-wallpaper-18978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Team: </a:t>
            </a:r>
            <a:r>
              <a:rPr lang="de-DE" sz="1400" dirty="0">
                <a:hlinkClick r:id="rId13"/>
              </a:rPr>
              <a:t>http://</a:t>
            </a:r>
            <a:r>
              <a:rPr lang="de-DE" sz="1400" dirty="0" smtClean="0">
                <a:hlinkClick r:id="rId13"/>
              </a:rPr>
              <a:t>www.presentermedia.com/files/pres/00007000/7900/slide04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Team: </a:t>
            </a:r>
            <a:r>
              <a:rPr lang="de-DE" sz="1400" dirty="0" smtClean="0">
                <a:hlinkClick r:id="rId14"/>
              </a:rPr>
              <a:t>http</a:t>
            </a:r>
            <a:r>
              <a:rPr lang="de-DE" sz="1400" dirty="0">
                <a:hlinkClick r:id="rId14"/>
              </a:rPr>
              <a:t>://www.span3853.julieannward.com/lib/exe/fetch.php?cache=&amp;</a:t>
            </a:r>
            <a:r>
              <a:rPr lang="de-DE" sz="1400" dirty="0" smtClean="0">
                <a:hlinkClick r:id="rId14"/>
              </a:rPr>
              <a:t>media=clipart-computers-headsets-team-work-programmer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Plan: </a:t>
            </a:r>
            <a:r>
              <a:rPr lang="de-DE" sz="1400" dirty="0">
                <a:hlinkClick r:id="rId15"/>
              </a:rPr>
              <a:t>http://</a:t>
            </a:r>
            <a:r>
              <a:rPr lang="de-DE" sz="1400" dirty="0" smtClean="0">
                <a:hlinkClick r:id="rId15"/>
              </a:rPr>
              <a:t>topkonzept-blog.de/wp-content/uploads/2014/07/Maennchen_mit_Plan_Fotolia_44599113_XS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Danke: </a:t>
            </a:r>
            <a:r>
              <a:rPr lang="de-DE" sz="1400" dirty="0">
                <a:hlinkClick r:id="rId16"/>
              </a:rPr>
              <a:t>http://</a:t>
            </a:r>
            <a:r>
              <a:rPr lang="de-DE" sz="1400" dirty="0" smtClean="0">
                <a:hlinkClick r:id="rId16"/>
              </a:rPr>
              <a:t>www.experto.de/dankesrede-1280px-855px.jpg</a:t>
            </a:r>
            <a:endParaRPr lang="de-DE" sz="1400" dirty="0" smtClean="0"/>
          </a:p>
          <a:p>
            <a:pPr marL="342900" indent="-342900">
              <a:buAutoNum type="arabicPeriod"/>
            </a:pPr>
            <a:endParaRPr lang="de-DE" sz="1400" dirty="0" smtClean="0"/>
          </a:p>
          <a:p>
            <a:pPr marL="342900" indent="-342900">
              <a:buAutoNum type="arabicPeriod"/>
            </a:pPr>
            <a:endParaRPr lang="de-DE" sz="1200" dirty="0" smtClean="0"/>
          </a:p>
          <a:p>
            <a:pPr marL="342900" indent="-342900">
              <a:buAutoNum type="arabicPeriod"/>
            </a:pPr>
            <a:endParaRPr lang="de-DE" sz="1200" dirty="0" smtClean="0"/>
          </a:p>
          <a:p>
            <a:pPr marL="342900" indent="-342900">
              <a:buAutoNum type="arabicPeriod"/>
            </a:pPr>
            <a:endParaRPr lang="de-DE" sz="1200" dirty="0" smtClean="0"/>
          </a:p>
          <a:p>
            <a:pPr marL="342900" indent="-342900">
              <a:buAutoNum type="arabicPeriod"/>
            </a:pPr>
            <a:endParaRPr lang="de-DE" sz="1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6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101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0"/>
  <p:tag name="THINKCELLPRESENTATIONDONOTDELETE" val="&lt;?xml version=&quot;1.0&quot; encoding=&quot;UTF-16&quot; standalone=&quot;yes&quot;?&gt;&#10;&lt;root reqver=&quot;21047&quot;&gt;&lt;version val=&quot;22256&quot;/&gt;&lt;CPresentation id=&quot;1&quot;&gt;&lt;m_precDefaultNumber/&gt;&lt;m_precDefaultPercent/&gt;&lt;m_precDefaultDate/&gt;&lt;m_precDefaultYear&gt;&lt;m_strFormatTime&gt;%Y&lt;/m_strFormatTime&gt;&lt;/m_precDefaultYear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5</Words>
  <Application>Microsoft Office PowerPoint</Application>
  <PresentationFormat>Bildschirmpräsentation (4:3)</PresentationFormat>
  <Paragraphs>90</Paragraphs>
  <Slides>10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8" baseType="lpstr">
      <vt:lpstr>Arial</vt:lpstr>
      <vt:lpstr>TeleGrotesk Headline Ultra</vt:lpstr>
      <vt:lpstr>Tele-GroteskFet</vt:lpstr>
      <vt:lpstr>Tele-GroteskNor</vt:lpstr>
      <vt:lpstr>Tele-GroteskUlt</vt:lpstr>
      <vt:lpstr>Wingdings</vt:lpstr>
      <vt:lpstr>TELEKOM_Master_DE_RC6 Kopie</vt:lpstr>
      <vt:lpstr>think-cell Folie</vt:lpstr>
      <vt:lpstr>Fundbüro  Plattform für verlorene gegenstände</vt:lpstr>
      <vt:lpstr>AGENDA</vt:lpstr>
      <vt:lpstr>1. Problembeschreibung</vt:lpstr>
      <vt:lpstr>2.  Projektbeschreibung</vt:lpstr>
      <vt:lpstr>3. Projektvorstellung</vt:lpstr>
      <vt:lpstr>4. Umfeldanalyse</vt:lpstr>
      <vt:lpstr>5. Projektorganisation</vt:lpstr>
      <vt:lpstr>6. Projektplanung</vt:lpstr>
      <vt:lpstr>Quellen</vt:lpstr>
      <vt:lpstr>PowerPoint-Prä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eike Hoffmann</dc:creator>
  <cp:lastModifiedBy>Anni</cp:lastModifiedBy>
  <cp:revision>49</cp:revision>
  <cp:lastPrinted>2012-09-04T09:22:48Z</cp:lastPrinted>
  <dcterms:created xsi:type="dcterms:W3CDTF">2011-07-07T11:12:14Z</dcterms:created>
  <dcterms:modified xsi:type="dcterms:W3CDTF">2016-01-06T13:5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